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2FBB34-2246-4C03-A058-D32406C22C9B}" v="54" dt="2023-03-07T23:14:44.3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62FBB34-2246-4C03-A058-D32406C22C9B}"/>
    <pc:docChg chg="addSld delSld modSld">
      <pc:chgData name="Roberto Gallardo" userId="49a044883f185952" providerId="LiveId" clId="{762FBB34-2246-4C03-A058-D32406C22C9B}" dt="2023-03-07T23:14:56.702" v="213" actId="1076"/>
      <pc:docMkLst>
        <pc:docMk/>
      </pc:docMkLst>
      <pc:sldChg chg="del">
        <pc:chgData name="Roberto Gallardo" userId="49a044883f185952" providerId="LiveId" clId="{762FBB34-2246-4C03-A058-D32406C22C9B}" dt="2023-02-25T15:10:34.620" v="30" actId="47"/>
        <pc:sldMkLst>
          <pc:docMk/>
          <pc:sldMk cId="1175010214" sldId="261"/>
        </pc:sldMkLst>
      </pc:sldChg>
      <pc:sldChg chg="addSp modSp mod">
        <pc:chgData name="Roberto Gallardo" userId="49a044883f185952" providerId="LiveId" clId="{762FBB34-2246-4C03-A058-D32406C22C9B}" dt="2023-03-07T23:09:59.314" v="37" actId="1076"/>
        <pc:sldMkLst>
          <pc:docMk/>
          <pc:sldMk cId="1418533539" sldId="271"/>
        </pc:sldMkLst>
        <pc:picChg chg="add mod">
          <ac:chgData name="Roberto Gallardo" userId="49a044883f185952" providerId="LiveId" clId="{762FBB34-2246-4C03-A058-D32406C22C9B}" dt="2023-03-07T23:09:59.314" v="37" actId="1076"/>
          <ac:picMkLst>
            <pc:docMk/>
            <pc:sldMk cId="1418533539" sldId="271"/>
            <ac:picMk id="6" creationId="{9D549854-D7B8-832F-053C-74BC2639F85D}"/>
          </ac:picMkLst>
        </pc:picChg>
      </pc:sldChg>
      <pc:sldChg chg="addSp modSp mod">
        <pc:chgData name="Roberto Gallardo" userId="49a044883f185952" providerId="LiveId" clId="{762FBB34-2246-4C03-A058-D32406C22C9B}" dt="2023-03-07T23:11:39.901" v="92" actId="1076"/>
        <pc:sldMkLst>
          <pc:docMk/>
          <pc:sldMk cId="2124848710" sldId="281"/>
        </pc:sldMkLst>
        <pc:picChg chg="add mod">
          <ac:chgData name="Roberto Gallardo" userId="49a044883f185952" providerId="LiveId" clId="{762FBB34-2246-4C03-A058-D32406C22C9B}" dt="2023-03-07T23:11:39.901" v="92" actId="1076"/>
          <ac:picMkLst>
            <pc:docMk/>
            <pc:sldMk cId="2124848710" sldId="281"/>
            <ac:picMk id="6" creationId="{21BFD0CE-9223-3256-2FF9-EFFF758486F0}"/>
          </ac:picMkLst>
        </pc:picChg>
      </pc:sldChg>
      <pc:sldChg chg="addSp modSp mod">
        <pc:chgData name="Roberto Gallardo" userId="49a044883f185952" providerId="LiveId" clId="{762FBB34-2246-4C03-A058-D32406C22C9B}" dt="2023-03-07T23:11:56.701" v="101" actId="1076"/>
        <pc:sldMkLst>
          <pc:docMk/>
          <pc:sldMk cId="2028175529" sldId="282"/>
        </pc:sldMkLst>
        <pc:picChg chg="add mod">
          <ac:chgData name="Roberto Gallardo" userId="49a044883f185952" providerId="LiveId" clId="{762FBB34-2246-4C03-A058-D32406C22C9B}" dt="2023-03-07T23:11:56.701" v="101" actId="1076"/>
          <ac:picMkLst>
            <pc:docMk/>
            <pc:sldMk cId="2028175529" sldId="282"/>
            <ac:picMk id="7" creationId="{24FDD646-3FEE-895C-656D-2F633F0B63C8}"/>
          </ac:picMkLst>
        </pc:picChg>
      </pc:sldChg>
      <pc:sldChg chg="addSp modSp mod">
        <pc:chgData name="Roberto Gallardo" userId="49a044883f185952" providerId="LiveId" clId="{762FBB34-2246-4C03-A058-D32406C22C9B}" dt="2023-03-07T23:12:12.606" v="110" actId="1076"/>
        <pc:sldMkLst>
          <pc:docMk/>
          <pc:sldMk cId="1326517747" sldId="283"/>
        </pc:sldMkLst>
        <pc:picChg chg="add mod">
          <ac:chgData name="Roberto Gallardo" userId="49a044883f185952" providerId="LiveId" clId="{762FBB34-2246-4C03-A058-D32406C22C9B}" dt="2023-03-07T23:12:12.606" v="110" actId="1076"/>
          <ac:picMkLst>
            <pc:docMk/>
            <pc:sldMk cId="1326517747" sldId="283"/>
            <ac:picMk id="7" creationId="{BAF70EC6-C305-4BF3-C4C2-F8F98E0AAC07}"/>
          </ac:picMkLst>
        </pc:picChg>
      </pc:sldChg>
      <pc:sldChg chg="addSp modSp mod">
        <pc:chgData name="Roberto Gallardo" userId="49a044883f185952" providerId="LiveId" clId="{762FBB34-2246-4C03-A058-D32406C22C9B}" dt="2023-03-07T23:12:26.813" v="120" actId="1076"/>
        <pc:sldMkLst>
          <pc:docMk/>
          <pc:sldMk cId="783739251" sldId="284"/>
        </pc:sldMkLst>
        <pc:picChg chg="add mod">
          <ac:chgData name="Roberto Gallardo" userId="49a044883f185952" providerId="LiveId" clId="{762FBB34-2246-4C03-A058-D32406C22C9B}" dt="2023-03-07T23:12:26.813" v="120" actId="1076"/>
          <ac:picMkLst>
            <pc:docMk/>
            <pc:sldMk cId="783739251" sldId="284"/>
            <ac:picMk id="7" creationId="{2AA998D3-8327-8B44-9531-CB22657657EE}"/>
          </ac:picMkLst>
        </pc:picChg>
      </pc:sldChg>
      <pc:sldChg chg="addSp modSp mod">
        <pc:chgData name="Roberto Gallardo" userId="49a044883f185952" providerId="LiveId" clId="{762FBB34-2246-4C03-A058-D32406C22C9B}" dt="2023-03-07T23:12:42.354" v="131" actId="1076"/>
        <pc:sldMkLst>
          <pc:docMk/>
          <pc:sldMk cId="1676122233" sldId="285"/>
        </pc:sldMkLst>
        <pc:picChg chg="add mod">
          <ac:chgData name="Roberto Gallardo" userId="49a044883f185952" providerId="LiveId" clId="{762FBB34-2246-4C03-A058-D32406C22C9B}" dt="2023-03-07T23:12:42.354" v="131" actId="1076"/>
          <ac:picMkLst>
            <pc:docMk/>
            <pc:sldMk cId="1676122233" sldId="285"/>
            <ac:picMk id="7" creationId="{280D183A-7378-B720-A1C0-2EB776B56520}"/>
          </ac:picMkLst>
        </pc:picChg>
      </pc:sldChg>
      <pc:sldChg chg="addSp modSp mod">
        <pc:chgData name="Roberto Gallardo" userId="49a044883f185952" providerId="LiveId" clId="{762FBB34-2246-4C03-A058-D32406C22C9B}" dt="2023-03-07T23:12:56.573" v="140" actId="1076"/>
        <pc:sldMkLst>
          <pc:docMk/>
          <pc:sldMk cId="3100398757" sldId="286"/>
        </pc:sldMkLst>
        <pc:picChg chg="add mod">
          <ac:chgData name="Roberto Gallardo" userId="49a044883f185952" providerId="LiveId" clId="{762FBB34-2246-4C03-A058-D32406C22C9B}" dt="2023-03-07T23:12:56.573" v="140" actId="1076"/>
          <ac:picMkLst>
            <pc:docMk/>
            <pc:sldMk cId="3100398757" sldId="286"/>
            <ac:picMk id="7" creationId="{C217B3DB-8CC6-15DA-01B6-C80D31C769BA}"/>
          </ac:picMkLst>
        </pc:picChg>
      </pc:sldChg>
      <pc:sldChg chg="addSp modSp mod">
        <pc:chgData name="Roberto Gallardo" userId="49a044883f185952" providerId="LiveId" clId="{762FBB34-2246-4C03-A058-D32406C22C9B}" dt="2023-03-07T23:13:13.969" v="149" actId="1076"/>
        <pc:sldMkLst>
          <pc:docMk/>
          <pc:sldMk cId="1546475425" sldId="287"/>
        </pc:sldMkLst>
        <pc:picChg chg="add mod">
          <ac:chgData name="Roberto Gallardo" userId="49a044883f185952" providerId="LiveId" clId="{762FBB34-2246-4C03-A058-D32406C22C9B}" dt="2023-03-07T23:13:13.969" v="149" actId="1076"/>
          <ac:picMkLst>
            <pc:docMk/>
            <pc:sldMk cId="1546475425" sldId="287"/>
            <ac:picMk id="7" creationId="{29D3C8D8-35DE-C780-E546-9DEF2C279D41}"/>
          </ac:picMkLst>
        </pc:picChg>
      </pc:sldChg>
      <pc:sldChg chg="addSp modSp mod">
        <pc:chgData name="Roberto Gallardo" userId="49a044883f185952" providerId="LiveId" clId="{762FBB34-2246-4C03-A058-D32406C22C9B}" dt="2023-03-07T23:13:44.057" v="169" actId="1076"/>
        <pc:sldMkLst>
          <pc:docMk/>
          <pc:sldMk cId="1380517306" sldId="288"/>
        </pc:sldMkLst>
        <pc:picChg chg="add mod">
          <ac:chgData name="Roberto Gallardo" userId="49a044883f185952" providerId="LiveId" clId="{762FBB34-2246-4C03-A058-D32406C22C9B}" dt="2023-03-07T23:13:44.057" v="169" actId="1076"/>
          <ac:picMkLst>
            <pc:docMk/>
            <pc:sldMk cId="1380517306" sldId="288"/>
            <ac:picMk id="7" creationId="{BD58CF84-B684-1234-5131-9805ACD7056F}"/>
          </ac:picMkLst>
        </pc:picChg>
      </pc:sldChg>
      <pc:sldChg chg="addSp modSp mod">
        <pc:chgData name="Roberto Gallardo" userId="49a044883f185952" providerId="LiveId" clId="{762FBB34-2246-4C03-A058-D32406C22C9B}" dt="2023-03-07T23:13:57.737" v="179" actId="1076"/>
        <pc:sldMkLst>
          <pc:docMk/>
          <pc:sldMk cId="1388671151" sldId="289"/>
        </pc:sldMkLst>
        <pc:picChg chg="add mod">
          <ac:chgData name="Roberto Gallardo" userId="49a044883f185952" providerId="LiveId" clId="{762FBB34-2246-4C03-A058-D32406C22C9B}" dt="2023-03-07T23:13:57.737" v="179" actId="1076"/>
          <ac:picMkLst>
            <pc:docMk/>
            <pc:sldMk cId="1388671151" sldId="289"/>
            <ac:picMk id="7" creationId="{D62B0D5A-4429-BEEC-48C6-E390F86269A7}"/>
          </ac:picMkLst>
        </pc:picChg>
      </pc:sldChg>
      <pc:sldChg chg="addSp modSp mod">
        <pc:chgData name="Roberto Gallardo" userId="49a044883f185952" providerId="LiveId" clId="{762FBB34-2246-4C03-A058-D32406C22C9B}" dt="2023-03-07T23:14:38.446" v="202" actId="1076"/>
        <pc:sldMkLst>
          <pc:docMk/>
          <pc:sldMk cId="2355376039" sldId="290"/>
        </pc:sldMkLst>
        <pc:picChg chg="add mod">
          <ac:chgData name="Roberto Gallardo" userId="49a044883f185952" providerId="LiveId" clId="{762FBB34-2246-4C03-A058-D32406C22C9B}" dt="2023-03-07T23:14:38.446" v="202" actId="1076"/>
          <ac:picMkLst>
            <pc:docMk/>
            <pc:sldMk cId="2355376039" sldId="290"/>
            <ac:picMk id="8" creationId="{394B9250-0D73-D6E1-0D4F-F68A6BF13765}"/>
          </ac:picMkLst>
        </pc:picChg>
      </pc:sldChg>
      <pc:sldChg chg="addSp modSp mod">
        <pc:chgData name="Roberto Gallardo" userId="49a044883f185952" providerId="LiveId" clId="{762FBB34-2246-4C03-A058-D32406C22C9B}" dt="2023-03-07T23:14:56.702" v="213" actId="1076"/>
        <pc:sldMkLst>
          <pc:docMk/>
          <pc:sldMk cId="3757257295" sldId="291"/>
        </pc:sldMkLst>
        <pc:picChg chg="add mod">
          <ac:chgData name="Roberto Gallardo" userId="49a044883f185952" providerId="LiveId" clId="{762FBB34-2246-4C03-A058-D32406C22C9B}" dt="2023-03-07T23:14:56.702" v="213" actId="1076"/>
          <ac:picMkLst>
            <pc:docMk/>
            <pc:sldMk cId="3757257295" sldId="291"/>
            <ac:picMk id="8" creationId="{31C36943-2930-9AE5-C94C-C8C230CEEC1D}"/>
          </ac:picMkLst>
        </pc:picChg>
      </pc:sldChg>
      <pc:sldChg chg="addSp modSp mod">
        <pc:chgData name="Roberto Gallardo" userId="49a044883f185952" providerId="LiveId" clId="{762FBB34-2246-4C03-A058-D32406C22C9B}" dt="2023-03-07T23:13:30.353" v="160" actId="1076"/>
        <pc:sldMkLst>
          <pc:docMk/>
          <pc:sldMk cId="1259856727" sldId="292"/>
        </pc:sldMkLst>
        <pc:picChg chg="add mod">
          <ac:chgData name="Roberto Gallardo" userId="49a044883f185952" providerId="LiveId" clId="{762FBB34-2246-4C03-A058-D32406C22C9B}" dt="2023-03-07T23:13:30.353" v="160" actId="1076"/>
          <ac:picMkLst>
            <pc:docMk/>
            <pc:sldMk cId="1259856727" sldId="292"/>
            <ac:picMk id="7" creationId="{2EC5CCB8-2AEF-A13F-789C-ADECCACD5EB7}"/>
          </ac:picMkLst>
        </pc:picChg>
      </pc:sldChg>
      <pc:sldChg chg="addSp modSp mod">
        <pc:chgData name="Roberto Gallardo" userId="49a044883f185952" providerId="LiveId" clId="{762FBB34-2246-4C03-A058-D32406C22C9B}" dt="2023-03-07T23:11:22.854" v="81" actId="1076"/>
        <pc:sldMkLst>
          <pc:docMk/>
          <pc:sldMk cId="3324519687" sldId="293"/>
        </pc:sldMkLst>
        <pc:picChg chg="add mod">
          <ac:chgData name="Roberto Gallardo" userId="49a044883f185952" providerId="LiveId" clId="{762FBB34-2246-4C03-A058-D32406C22C9B}" dt="2023-03-07T23:11:22.854" v="81" actId="1076"/>
          <ac:picMkLst>
            <pc:docMk/>
            <pc:sldMk cId="3324519687" sldId="293"/>
            <ac:picMk id="7" creationId="{A541DF45-0B1D-873A-00B3-19348F581B3C}"/>
          </ac:picMkLst>
        </pc:picChg>
      </pc:sldChg>
      <pc:sldChg chg="addSp modSp mod">
        <pc:chgData name="Roberto Gallardo" userId="49a044883f185952" providerId="LiveId" clId="{762FBB34-2246-4C03-A058-D32406C22C9B}" dt="2023-03-07T23:10:50.242" v="62" actId="1076"/>
        <pc:sldMkLst>
          <pc:docMk/>
          <pc:sldMk cId="3256182630" sldId="295"/>
        </pc:sldMkLst>
        <pc:picChg chg="add mod">
          <ac:chgData name="Roberto Gallardo" userId="49a044883f185952" providerId="LiveId" clId="{762FBB34-2246-4C03-A058-D32406C22C9B}" dt="2023-03-07T23:10:50.242" v="62" actId="1076"/>
          <ac:picMkLst>
            <pc:docMk/>
            <pc:sldMk cId="3256182630" sldId="295"/>
            <ac:picMk id="7" creationId="{E7AB54AF-CCC6-8947-3C81-1796D47A47E5}"/>
          </ac:picMkLst>
        </pc:picChg>
      </pc:sldChg>
      <pc:sldChg chg="addSp modSp mod">
        <pc:chgData name="Roberto Gallardo" userId="49a044883f185952" providerId="LiveId" clId="{762FBB34-2246-4C03-A058-D32406C22C9B}" dt="2023-03-07T23:11:09.725" v="72" actId="1076"/>
        <pc:sldMkLst>
          <pc:docMk/>
          <pc:sldMk cId="4057156843" sldId="296"/>
        </pc:sldMkLst>
        <pc:picChg chg="add mod">
          <ac:chgData name="Roberto Gallardo" userId="49a044883f185952" providerId="LiveId" clId="{762FBB34-2246-4C03-A058-D32406C22C9B}" dt="2023-03-07T23:11:09.725" v="72" actId="1076"/>
          <ac:picMkLst>
            <pc:docMk/>
            <pc:sldMk cId="4057156843" sldId="296"/>
            <ac:picMk id="7" creationId="{AA311E8A-5F66-1F9A-C41B-270C1CB05512}"/>
          </ac:picMkLst>
        </pc:picChg>
      </pc:sldChg>
      <pc:sldChg chg="addSp modSp mod">
        <pc:chgData name="Roberto Gallardo" userId="49a044883f185952" providerId="LiveId" clId="{762FBB34-2246-4C03-A058-D32406C22C9B}" dt="2023-03-07T23:10:30.114" v="52" actId="1076"/>
        <pc:sldMkLst>
          <pc:docMk/>
          <pc:sldMk cId="2080110827" sldId="297"/>
        </pc:sldMkLst>
        <pc:picChg chg="add mod">
          <ac:chgData name="Roberto Gallardo" userId="49a044883f185952" providerId="LiveId" clId="{762FBB34-2246-4C03-A058-D32406C22C9B}" dt="2023-03-07T23:10:30.114" v="52" actId="1076"/>
          <ac:picMkLst>
            <pc:docMk/>
            <pc:sldMk cId="2080110827" sldId="297"/>
            <ac:picMk id="6" creationId="{DF263E53-C6F0-50F4-8508-67C9F03E3073}"/>
          </ac:picMkLst>
        </pc:picChg>
      </pc:sldChg>
      <pc:sldChg chg="addSp modSp mod">
        <pc:chgData name="Roberto Gallardo" userId="49a044883f185952" providerId="LiveId" clId="{762FBB34-2246-4C03-A058-D32406C22C9B}" dt="2023-03-07T23:10:17.209" v="45" actId="1076"/>
        <pc:sldMkLst>
          <pc:docMk/>
          <pc:sldMk cId="1532666867" sldId="298"/>
        </pc:sldMkLst>
        <pc:picChg chg="add mod">
          <ac:chgData name="Roberto Gallardo" userId="49a044883f185952" providerId="LiveId" clId="{762FBB34-2246-4C03-A058-D32406C22C9B}" dt="2023-03-07T23:10:17.209" v="45" actId="1076"/>
          <ac:picMkLst>
            <pc:docMk/>
            <pc:sldMk cId="1532666867" sldId="298"/>
            <ac:picMk id="6" creationId="{94E2A333-0168-1D6F-C908-881D9B165EFA}"/>
          </ac:picMkLst>
        </pc:picChg>
      </pc:sldChg>
      <pc:sldChg chg="addSp modSp mod">
        <pc:chgData name="Roberto Gallardo" userId="49a044883f185952" providerId="LiveId" clId="{762FBB34-2246-4C03-A058-D32406C22C9B}" dt="2023-03-07T23:14:17.921" v="192" actId="1076"/>
        <pc:sldMkLst>
          <pc:docMk/>
          <pc:sldMk cId="1951376777" sldId="299"/>
        </pc:sldMkLst>
        <pc:picChg chg="add mod">
          <ac:chgData name="Roberto Gallardo" userId="49a044883f185952" providerId="LiveId" clId="{762FBB34-2246-4C03-A058-D32406C22C9B}" dt="2023-03-07T23:14:17.921" v="192" actId="1076"/>
          <ac:picMkLst>
            <pc:docMk/>
            <pc:sldMk cId="1951376777" sldId="299"/>
            <ac:picMk id="7" creationId="{654BE508-D920-185F-6608-3F47690EDD24}"/>
          </ac:picMkLst>
        </pc:picChg>
      </pc:sldChg>
      <pc:sldChg chg="del">
        <pc:chgData name="Roberto Gallardo" userId="49a044883f185952" providerId="LiveId" clId="{762FBB34-2246-4C03-A058-D32406C22C9B}" dt="2023-02-25T15:10:34.620" v="30" actId="47"/>
        <pc:sldMkLst>
          <pc:docMk/>
          <pc:sldMk cId="2841628872" sldId="303"/>
        </pc:sldMkLst>
      </pc:sldChg>
      <pc:sldChg chg="del">
        <pc:chgData name="Roberto Gallardo" userId="49a044883f185952" providerId="LiveId" clId="{762FBB34-2246-4C03-A058-D32406C22C9B}" dt="2023-02-25T15:10:34.620" v="30" actId="47"/>
        <pc:sldMkLst>
          <pc:docMk/>
          <pc:sldMk cId="3084076302" sldId="304"/>
        </pc:sldMkLst>
      </pc:sldChg>
      <pc:sldChg chg="del">
        <pc:chgData name="Roberto Gallardo" userId="49a044883f185952" providerId="LiveId" clId="{762FBB34-2246-4C03-A058-D32406C22C9B}" dt="2023-02-25T15:10:34.620" v="30" actId="47"/>
        <pc:sldMkLst>
          <pc:docMk/>
          <pc:sldMk cId="473712435" sldId="305"/>
        </pc:sldMkLst>
      </pc:sldChg>
      <pc:sldChg chg="modSp mod">
        <pc:chgData name="Roberto Gallardo" userId="49a044883f185952" providerId="LiveId" clId="{762FBB34-2246-4C03-A058-D32406C22C9B}" dt="2023-02-25T13:29:12.858" v="28" actId="14100"/>
        <pc:sldMkLst>
          <pc:docMk/>
          <pc:sldMk cId="2366022307" sldId="306"/>
        </pc:sldMkLst>
        <pc:spChg chg="mod">
          <ac:chgData name="Roberto Gallardo" userId="49a044883f185952" providerId="LiveId" clId="{762FBB34-2246-4C03-A058-D32406C22C9B}" dt="2023-02-25T13:28:53.519" v="1" actId="20577"/>
          <ac:spMkLst>
            <pc:docMk/>
            <pc:sldMk cId="2366022307" sldId="306"/>
            <ac:spMk id="11" creationId="{09F5AE19-B4E3-7788-F25F-CDA80D596DAF}"/>
          </ac:spMkLst>
        </pc:spChg>
        <pc:grpChg chg="mod">
          <ac:chgData name="Roberto Gallardo" userId="49a044883f185952" providerId="LiveId" clId="{762FBB34-2246-4C03-A058-D32406C22C9B}" dt="2023-02-25T13:28:58.747" v="19" actId="1035"/>
          <ac:grpSpMkLst>
            <pc:docMk/>
            <pc:sldMk cId="2366022307" sldId="306"/>
            <ac:grpSpMk id="6" creationId="{4BC0EAD3-A621-359E-F822-1BC272A15D80}"/>
          </ac:grpSpMkLst>
        </pc:grpChg>
        <pc:cxnChg chg="mod">
          <ac:chgData name="Roberto Gallardo" userId="49a044883f185952" providerId="LiveId" clId="{762FBB34-2246-4C03-A058-D32406C22C9B}" dt="2023-02-25T13:29:08.031" v="27" actId="1035"/>
          <ac:cxnSpMkLst>
            <pc:docMk/>
            <pc:sldMk cId="2366022307" sldId="306"/>
            <ac:cxnSpMk id="27" creationId="{F0CF8142-8895-D0A8-A662-E40568742508}"/>
          </ac:cxnSpMkLst>
        </pc:cxnChg>
        <pc:cxnChg chg="mod">
          <ac:chgData name="Roberto Gallardo" userId="49a044883f185952" providerId="LiveId" clId="{762FBB34-2246-4C03-A058-D32406C22C9B}" dt="2023-02-25T13:29:12.858" v="28" actId="14100"/>
          <ac:cxnSpMkLst>
            <pc:docMk/>
            <pc:sldMk cId="2366022307" sldId="306"/>
            <ac:cxnSpMk id="28" creationId="{15C28C80-F0E1-159F-F103-CEA53436F6F9}"/>
          </ac:cxnSpMkLst>
        </pc:cxnChg>
      </pc:sldChg>
      <pc:sldChg chg="add">
        <pc:chgData name="Roberto Gallardo" userId="49a044883f185952" providerId="LiveId" clId="{762FBB34-2246-4C03-A058-D32406C22C9B}" dt="2023-02-25T15:10:31.660" v="29"/>
        <pc:sldMkLst>
          <pc:docMk/>
          <pc:sldMk cId="3198149255" sldId="307"/>
        </pc:sldMkLst>
      </pc:sldChg>
      <pc:sldChg chg="add">
        <pc:chgData name="Roberto Gallardo" userId="49a044883f185952" providerId="LiveId" clId="{762FBB34-2246-4C03-A058-D32406C22C9B}" dt="2023-02-25T15:10:31.660" v="29"/>
        <pc:sldMkLst>
          <pc:docMk/>
          <pc:sldMk cId="711980261" sldId="308"/>
        </pc:sldMkLst>
      </pc:sldChg>
      <pc:sldChg chg="add">
        <pc:chgData name="Roberto Gallardo" userId="49a044883f185952" providerId="LiveId" clId="{762FBB34-2246-4C03-A058-D32406C22C9B}" dt="2023-02-25T15:10:31.660" v="29"/>
        <pc:sldMkLst>
          <pc:docMk/>
          <pc:sldMk cId="2005553748" sldId="309"/>
        </pc:sldMkLst>
      </pc:sldChg>
      <pc:sldChg chg="add">
        <pc:chgData name="Roberto Gallardo" userId="49a044883f185952" providerId="LiveId" clId="{762FBB34-2246-4C03-A058-D32406C22C9B}" dt="2023-02-25T15:10:31.660" v="29"/>
        <pc:sldMkLst>
          <pc:docMk/>
          <pc:sldMk cId="192913062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Watauga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095F992-1268-5170-8338-53C8771C7D4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005553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C987C2D-360E-CB99-1956-73C074CD5E83}"/>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929130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D549854-D7B8-832F-053C-74BC2639F8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4E2A333-0168-1D6F-C908-881D9B165E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263E53-C6F0-50F4-8508-67C9F03E30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BB8734D-1DF7-7E8C-5304-D7E74E36D8A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E7AB54AF-CCC6-8947-3C81-1796D47A47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43D2741-64AA-CEA8-8F82-BB297EC3BC18}"/>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AA311E8A-5F66-1F9A-C41B-270C1CB05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B8D678C-7C57-9226-6636-EB10E80EEA0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A541DF45-0B1D-873A-00B3-19348F581B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84D749A-C434-716C-B797-552B65B05810}"/>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21BFD0CE-9223-3256-2FF9-EFFF758486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EC7EB94-9051-21B6-FB61-F5EACF9E6369}"/>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4FDD646-3FEE-895C-656D-2F633F0B63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E8D67F62-3440-EF2B-0F7B-B5E73DC352FF}"/>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AF70EC6-C305-4BF3-C4C2-F8F98E0AAC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8"/>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C7B11DF9-A2A1-1B16-BC6D-2F17836C858D}"/>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AA998D3-8327-8B44-9531-CB22657657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EC6C75A3-1024-B091-3773-7E538FD4AE6E}"/>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80D183A-7378-B720-A1C0-2EB776B565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114C8CC-3C3B-371F-1A13-28121CF1355B}"/>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217B3DB-8CC6-15DA-01B6-C80D31C769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5"/>
            <a:ext cx="6410325" cy="453310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1539412D-7FCF-FB0C-B9F4-8F56BC203F1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9D3C8D8-35DE-C780-E546-9DEF2C279D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42495493-B11F-2E3B-9FBC-D37D6F70185F}"/>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EC5CCB8-2AEF-A13F-789C-ADECCACD5E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1D2CF6F-6BB2-BE03-5E7D-E3A7368A74FA}"/>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D58CF84-B684-1234-5131-9805ACD705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784" y="1426347"/>
            <a:ext cx="6386816" cy="451648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2576A805-04EC-E525-8FE1-A42EFA848B5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D62B0D5A-4429-BEEC-48C6-E390F86269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5736183E-E3FB-B049-BFCB-73AEFC8A69F1}"/>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654BE508-D920-185F-6608-3F47690EDD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E1FBAB9C-2CBF-D347-FA60-1594F08859E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394B9250-0D73-D6E1-0D4F-F68A6BF137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ADE19F6-CCA3-1F3F-9B5B-C802F456E12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70C8CD42-F063-5DB5-28CF-F83A65A31DCB}"/>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31C36943-2930-9AE5-C94C-C8C230CEEC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83A730E-533D-0E13-67E1-A0496F86050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9478D63-1867-0E65-968E-3ADAB9E46BD7}"/>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BC55CF-E4FB-8B3F-7C7E-28C372104EA8}"/>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1851668"/>
            <a:ext cx="1198148" cy="2500263"/>
            <a:chOff x="10485745" y="2381337"/>
            <a:chExt cx="1198148" cy="25002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7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813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81337"/>
              <a:ext cx="0" cy="8361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10011"/>
              <a:ext cx="0" cy="7715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34089"/>
            <a:ext cx="1198148" cy="2267202"/>
            <a:chOff x="2775759" y="2224808"/>
            <a:chExt cx="1198148" cy="226720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248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24808"/>
              <a:ext cx="0" cy="7361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46629C3-1BDC-3C33-91FD-87B68648BD20}"/>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1E4963F8-42E8-4239-E543-99414729A476}"/>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EF6F0CB-CBEC-DACC-2C83-32FA97307BD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DA8D7E3-6078-FC15-2BB1-BED0F52FDD1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3A95C608-17E1-889C-1402-158D21EB058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5369656C-2597-F2F8-E8D0-D3A00522AD47}"/>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F97AC2F5-6AA5-32AE-4247-952F2A54F2F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198149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6C69E4D-D4D1-093F-9743-1D601598731D}"/>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711980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52</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02</cp:revision>
  <dcterms:created xsi:type="dcterms:W3CDTF">2022-07-04T13:32:28Z</dcterms:created>
  <dcterms:modified xsi:type="dcterms:W3CDTF">2023-03-07T23:15:02Z</dcterms:modified>
</cp:coreProperties>
</file>